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51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>
        <p:scale>
          <a:sx n="125" d="100"/>
          <a:sy n="125" d="100"/>
        </p:scale>
        <p:origin x="72" y="-1872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57653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14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5058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924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1690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       Di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Group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is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i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Verbindung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zweie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starker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ark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,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                   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d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bo</a:t>
            </a:r>
            <a:r>
              <a:rPr lang="de-DE" sz="900" dirty="0"/>
              <a:t>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ermex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. Gemeinsam sind wir ein führender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  Anbieter von Produktionsmaschinen und Serviceleistungen für die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Verpackung von Flüssigkeiten, Lebensmitteln, Haushalts- und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Körperpflegeprodukten in PET, Dosen, Glas und andere Materialien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i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mehr als 37.000 installierten Maschinen in über 190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änder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verfüg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wir über fast 170 Jahre anerkannter Erfahrung und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konzentrier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s auf Spitzentechnologie, Anlagentechnik und Innovation.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ser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über 5.000 Mitarbeiter engagieren sich weltweit leidenschaftlic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fü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die Lieferung von Komplettlösungen, die dem Bedarf der Kunden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nau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ntsprech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d di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Leistung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ihrer Anlagen, Produkte u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ternehm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teiger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ieses hohe Leistungsniveau setzt voraus, dass wir die Herausforderung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unserer Kund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ersteh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as gelingt uns durch Dialog, und weil wir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die Anforderungen ihrer Märkte, ihrer Produktion und Wertschöpfungskett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begreif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Unser umfassendes technisches Know-how und unsere intelligent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Datenanalysen tragen ebenfalls dazu bei, das Produktivitätspotenzial ihrer Anlag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über die gesamte Lebensdauer voll auszuschöpfen und zu optimieren.</a:t>
            </a:r>
            <a:endParaRPr lang="en-GB" sz="9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4066155" y="4869160"/>
            <a:ext cx="51863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dirty="0"/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nenn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das:</a:t>
            </a:r>
            <a:r>
              <a:rPr dirty="0"/>
              <a:t>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„Performance through Understanding. “</a:t>
            </a:r>
            <a:endParaRPr lang="de-DE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855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92007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i="0" u="none" strike="noStrike" kern="1200" baseline="0" dirty="0">
                <a:solidFill>
                  <a:schemeClr val="bg2"/>
                </a:solidFill>
                <a:latin typeface="+mn-lt"/>
              </a:rPr>
              <a:t>Titel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de-DE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dirty="0">
                <a:solidFill>
                  <a:schemeClr val="bg2"/>
                </a:solidFill>
              </a:rPr>
              <a:t>Seit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de-DE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0FC5087-2832-4AE0-A2B0-9BC629D5674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3952970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>
            <a:extLst>
              <a:ext uri="{FF2B5EF4-FFF2-40B4-BE49-F238E27FC236}">
                <a16:creationId xmlns:a16="http://schemas.microsoft.com/office/drawing/2014/main" id="{B6944ECD-28FB-47C5-BF18-2325B0781119}"/>
              </a:ext>
            </a:extLst>
          </p:cNvPr>
          <p:cNvSpPr>
            <a:spLocks/>
          </p:cNvSpPr>
          <p:nvPr/>
        </p:nvSpPr>
        <p:spPr>
          <a:xfrm>
            <a:off x="4751388" y="2180905"/>
            <a:ext cx="3889375" cy="3630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97" tIns="63998" rIns="95997" bIns="63998"/>
          <a:lstStyle/>
          <a:p>
            <a:pPr marL="162257" lvl="1" indent="-162257" defTabSz="812695" eaLnBrk="0" hangingPunct="0">
              <a:spcBef>
                <a:spcPts val="267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644079" algn="l"/>
                <a:tab pos="2800693" algn="l"/>
              </a:tabLst>
              <a:defRPr/>
            </a:pPr>
            <a:endParaRPr lang="de-DE" altLang="zh-CN" sz="1131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6" name="Rechteck 4">
            <a:extLst>
              <a:ext uri="{FF2B5EF4-FFF2-40B4-BE49-F238E27FC236}">
                <a16:creationId xmlns:a16="http://schemas.microsoft.com/office/drawing/2014/main" id="{B67A6078-01EC-478C-A6A4-93D361465654}"/>
              </a:ext>
            </a:extLst>
          </p:cNvPr>
          <p:cNvSpPr>
            <a:spLocks/>
          </p:cNvSpPr>
          <p:nvPr/>
        </p:nvSpPr>
        <p:spPr>
          <a:xfrm>
            <a:off x="651148" y="2180905"/>
            <a:ext cx="3899812" cy="3630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97" tIns="63998" rIns="95997" bIns="63998"/>
          <a:lstStyle/>
          <a:p>
            <a:pPr marL="162257" indent="-162257" defTabSz="812695" eaLnBrk="0" hangingPunct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de-DE" altLang="zh-CN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Rechteck 3">
            <a:extLst>
              <a:ext uri="{FF2B5EF4-FFF2-40B4-BE49-F238E27FC236}">
                <a16:creationId xmlns:a16="http://schemas.microsoft.com/office/drawing/2014/main" id="{80104E26-6FFA-4FBC-B232-FE8B3D84F4ED}"/>
              </a:ext>
            </a:extLst>
          </p:cNvPr>
          <p:cNvSpPr/>
          <p:nvPr/>
        </p:nvSpPr>
        <p:spPr>
          <a:xfrm>
            <a:off x="651148" y="1795022"/>
            <a:ext cx="3899812" cy="38588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defTabSz="781903" fontAlgn="auto">
              <a:spcBef>
                <a:spcPts val="257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400" b="1" dirty="0">
                <a:solidFill>
                  <a:srgbClr val="FFFFFF"/>
                </a:solidFill>
                <a:latin typeface="Arial" charset="0"/>
              </a:rPr>
              <a:t>NUTZEN UND VORTEILE</a:t>
            </a:r>
          </a:p>
        </p:txBody>
      </p:sp>
      <p:sp>
        <p:nvSpPr>
          <p:cNvPr id="18" name="Rechteck 11">
            <a:extLst>
              <a:ext uri="{FF2B5EF4-FFF2-40B4-BE49-F238E27FC236}">
                <a16:creationId xmlns:a16="http://schemas.microsoft.com/office/drawing/2014/main" id="{1FE67D04-6B1A-41E6-B56E-1F69C8B30220}"/>
              </a:ext>
            </a:extLst>
          </p:cNvPr>
          <p:cNvSpPr/>
          <p:nvPr/>
        </p:nvSpPr>
        <p:spPr>
          <a:xfrm>
            <a:off x="4751388" y="1792150"/>
            <a:ext cx="3889375" cy="38875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marL="162897" indent="-162897" defTabSz="781903">
              <a:spcBef>
                <a:spcPts val="257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400" b="1" noProof="1">
                <a:solidFill>
                  <a:srgbClr val="FFFFFF"/>
                </a:solidFill>
                <a:latin typeface="Arial" charset="0"/>
              </a:rPr>
              <a:t>BESCHREIBUNG</a:t>
            </a:r>
            <a:endParaRPr lang="fr-FR" altLang="de-DE" sz="14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kung der Wartungskosten und des Wasserverbrauchs</a:t>
            </a:r>
            <a:br/>
            <a:endParaRPr lang="de-DE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84174"/>
            <a:ext cx="7997825" cy="307975"/>
          </a:xfrm>
        </p:spPr>
        <p:txBody>
          <a:bodyPr/>
          <a:lstStyle/>
          <a:p>
            <a:r>
              <a:rPr lang="de-DE" dirty="0"/>
              <a:t>Kühlsystem für den Sprühwasserkreislauf</a:t>
            </a:r>
            <a:endParaRPr lang="de-DE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fr-FR" sz="800" dirty="0" err="1">
                <a:solidFill>
                  <a:srgbClr val="000000"/>
                </a:solidFill>
              </a:rPr>
              <a:t>Nutzen</a:t>
            </a:r>
            <a:r>
              <a:rPr lang="en-GB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 err="1">
                <a:solidFill>
                  <a:srgbClr val="000000"/>
                </a:solidFill>
              </a:rPr>
              <a:t>Effizienz</a:t>
            </a:r>
            <a:r>
              <a:rPr lang="de-DE" sz="800" kern="0" dirty="0"/>
              <a:t>, Qualität, </a:t>
            </a:r>
            <a:r>
              <a:rPr lang="de-DE" sz="800" dirty="0"/>
              <a:t>Nachhaltigkeit</a:t>
            </a:r>
            <a:endParaRPr lang="de-DE" sz="800" kern="0" dirty="0"/>
          </a:p>
          <a:p>
            <a:r>
              <a:rPr lang="de-DE" sz="800" kern="0" dirty="0"/>
              <a:t>Ausstattung: Pasteur</a:t>
            </a:r>
          </a:p>
          <a:p>
            <a:r>
              <a:rPr lang="de-DE" sz="800" kern="0" dirty="0"/>
              <a:t>Katalog-Code: VRP-01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200" b="1" dirty="0"/>
              <a:t>Wartung</a:t>
            </a:r>
          </a:p>
          <a:p>
            <a:pPr>
              <a:buClr>
                <a:schemeClr val="accent4"/>
              </a:buClr>
            </a:pPr>
            <a:r>
              <a:rPr lang="de-DE" sz="1200" dirty="0"/>
              <a:t>Geringerer Wartungsaufwand</a:t>
            </a:r>
          </a:p>
          <a:p>
            <a:pPr>
              <a:buClr>
                <a:schemeClr val="accent4"/>
              </a:buClr>
            </a:pPr>
            <a:endParaRPr lang="de-DE" sz="1200" b="1" dirty="0"/>
          </a:p>
          <a:p>
            <a:pPr>
              <a:buClr>
                <a:schemeClr val="accent4"/>
              </a:buClr>
            </a:pPr>
            <a:r>
              <a:rPr lang="de-DE" sz="1200" b="1" dirty="0"/>
              <a:t>Flexibilität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200" dirty="0"/>
              <a:t>Kontrolle der Produkttemperatur am Maschinenauslauf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200" dirty="0"/>
              <a:t>Kontrolle der SKU-spezifischen Produkttemperatur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200" dirty="0"/>
              <a:t>Erhöhte Effizienz der nachgelagerten Maschinen</a:t>
            </a:r>
            <a:endParaRPr lang="de-DE" sz="1200" b="1" dirty="0"/>
          </a:p>
          <a:p>
            <a:pPr>
              <a:buClr>
                <a:schemeClr val="accent4"/>
              </a:buClr>
            </a:pPr>
            <a:endParaRPr lang="de-DE" sz="1200" b="1" dirty="0"/>
          </a:p>
          <a:p>
            <a:pPr>
              <a:buClr>
                <a:schemeClr val="accent4"/>
              </a:buClr>
            </a:pPr>
            <a:r>
              <a:rPr lang="de-DE" sz="1200" b="1" dirty="0"/>
              <a:t>Produktivität</a:t>
            </a:r>
          </a:p>
          <a:p>
            <a:pPr>
              <a:buClr>
                <a:schemeClr val="accent4"/>
              </a:buClr>
            </a:pPr>
            <a:r>
              <a:rPr lang="de-DE" sz="1200" dirty="0"/>
              <a:t>Reduzierter Wasserverbrauc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4"/>
              </a:buClr>
            </a:pPr>
            <a:r>
              <a:rPr lang="de-DE" sz="1200" dirty="0"/>
              <a:t>Externe Installation einer Versorgungsleitung für den Plattenwärmetauscher</a:t>
            </a:r>
          </a:p>
          <a:p>
            <a:pPr marL="0" lvl="1">
              <a:buClr>
                <a:schemeClr val="accent4"/>
              </a:buClr>
            </a:pPr>
            <a:r>
              <a:rPr lang="de-DE" sz="1200" dirty="0"/>
              <a:t>Software-Update</a:t>
            </a:r>
          </a:p>
          <a:p>
            <a:pPr marL="0" lvl="1">
              <a:buClr>
                <a:schemeClr val="accent4"/>
              </a:buClr>
            </a:pPr>
            <a:endParaRPr lang="de-DE" sz="1200" dirty="0"/>
          </a:p>
          <a:p>
            <a:pPr marL="0" lvl="1">
              <a:buClr>
                <a:schemeClr val="accent4"/>
              </a:buClr>
            </a:pPr>
            <a:r>
              <a:rPr lang="de-DE" sz="1200" dirty="0"/>
              <a:t>Das System ist konzipiert für:</a:t>
            </a:r>
          </a:p>
          <a:p>
            <a:pPr marL="179388" lvl="1">
              <a:buClr>
                <a:schemeClr val="accent4"/>
              </a:buClr>
            </a:pPr>
            <a:r>
              <a:rPr lang="de-DE" sz="1200" dirty="0"/>
              <a:t>- Kühlung des Sprühwasserstahls für die Produkt in</a:t>
            </a:r>
            <a:br>
              <a:rPr lang="de-DE" sz="1200" dirty="0"/>
            </a:br>
            <a:r>
              <a:rPr lang="de-DE" sz="1200" dirty="0"/>
              <a:t>  den Kühlbereichen</a:t>
            </a:r>
          </a:p>
          <a:p>
            <a:pPr marL="179388" lvl="1">
              <a:buClr>
                <a:schemeClr val="accent4"/>
              </a:buClr>
            </a:pPr>
            <a:r>
              <a:rPr lang="de-DE" sz="1200" dirty="0"/>
              <a:t>- Kontrolle der Sprühstrahltemperatur in den</a:t>
            </a:r>
            <a:br>
              <a:rPr lang="de-DE" sz="1200" dirty="0"/>
            </a:br>
            <a:r>
              <a:rPr lang="de-DE" sz="1200" dirty="0"/>
              <a:t>  Kühlbereichen - Einstellung der SKU über das</a:t>
            </a:r>
            <a:br>
              <a:rPr lang="de-DE" sz="1200" dirty="0"/>
            </a:br>
            <a:r>
              <a:rPr lang="de-DE" sz="1200" dirty="0"/>
              <a:t>  Bedienpanel</a:t>
            </a:r>
          </a:p>
        </p:txBody>
      </p:sp>
      <p:pic>
        <p:nvPicPr>
          <p:cNvPr id="28" name="Immagine 3">
            <a:extLst>
              <a:ext uri="{FF2B5EF4-FFF2-40B4-BE49-F238E27FC236}">
                <a16:creationId xmlns:a16="http://schemas.microsoft.com/office/drawing/2014/main" id="{D1109873-80C6-4D67-8F2E-DD5B45DE9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0101" y="4258199"/>
            <a:ext cx="851947" cy="143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5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1</TotalTime>
  <Words>70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宋体</vt:lpstr>
      <vt:lpstr>Arial</vt:lpstr>
      <vt:lpstr>Wingdings</vt:lpstr>
      <vt:lpstr>1_NewGeboCermex_Template_4x3_v10_FINAL</vt:lpstr>
      <vt:lpstr>think-cell Folie</vt:lpstr>
      <vt:lpstr>Senkung der Wartungskosten und des Wasserverbrauchs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9</cp:revision>
  <cp:lastPrinted>2017-05-19T07:45:48Z</cp:lastPrinted>
  <dcterms:created xsi:type="dcterms:W3CDTF">2018-01-25T16:00:18Z</dcterms:created>
  <dcterms:modified xsi:type="dcterms:W3CDTF">2019-11-27T13:3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2:53.61183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2:03:58.5961639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2:03:58.5961639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